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4061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886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EqPnIcDW9g0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hlinkClick r:id="rId2"/>
            <a:extLst>
              <a:ext uri="{FF2B5EF4-FFF2-40B4-BE49-F238E27FC236}">
                <a16:creationId xmlns:a16="http://schemas.microsoft.com/office/drawing/2014/main" id="{AB70751B-4053-4D0E-A2F2-CD20DF02426D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0" r="16220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 July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Kathryn Newton, Vince Vaughn, Alan Ruc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Christopher Landon (</a:t>
            </a:r>
            <a:r>
              <a:rPr lang="en-US" i="1" dirty="0">
                <a:solidFill>
                  <a:schemeClr val="accent6"/>
                </a:solidFill>
              </a:rPr>
              <a:t>Happy Death Day 2 U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Happy Death Day 2 U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 fun premise and a surprisingly twisted turn from Vince Vaughn makes this slasher-comedy the perfect seasonal alternative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Adults Index: 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05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After swapping bodies with a deranged serial killer, a young girl in high school discovers she has less than 24 hours before the change becomes permanent.</a:t>
            </a: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Freak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Body swap goes body horror!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9886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6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Freaky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Freaky</dc:description>
  <cp:lastModifiedBy/>
  <cp:revision>1</cp:revision>
  <dcterms:created xsi:type="dcterms:W3CDTF">2019-03-25T11:13:20Z</dcterms:created>
  <dcterms:modified xsi:type="dcterms:W3CDTF">2021-07-07T10:43:50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Freaky</vt:lpwstr>
  </property>
</Properties>
</file>